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21" r:id="rId2"/>
    <p:sldMasterId id="2147483709" r:id="rId3"/>
  </p:sldMasterIdLst>
  <p:notesMasterIdLst>
    <p:notesMasterId r:id="rId5"/>
  </p:notesMasterIdLst>
  <p:sldIdLst>
    <p:sldId id="627" r:id="rId4"/>
  </p:sldIdLst>
  <p:sldSz cx="9144000" cy="6858000" type="screen4x3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485">
          <p15:clr>
            <a:srgbClr val="A4A3A4"/>
          </p15:clr>
        </p15:guide>
        <p15:guide id="4" orient="horz" pos="910">
          <p15:clr>
            <a:srgbClr val="A4A3A4"/>
          </p15:clr>
        </p15:guide>
        <p15:guide id="5" orient="horz" pos="4046">
          <p15:clr>
            <a:srgbClr val="A4A3A4"/>
          </p15:clr>
        </p15:guide>
        <p15:guide id="6" orient="horz" pos="3732">
          <p15:clr>
            <a:srgbClr val="A4A3A4"/>
          </p15:clr>
        </p15:guide>
        <p15:guide id="7" pos="347">
          <p15:clr>
            <a:srgbClr val="A4A3A4"/>
          </p15:clr>
        </p15:guide>
        <p15:guide id="8" pos="5479">
          <p15:clr>
            <a:srgbClr val="A4A3A4"/>
          </p15:clr>
        </p15:guide>
        <p15:guide id="9" pos="291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lath Bayoumi" initials="M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9A27"/>
    <a:srgbClr val="007635"/>
    <a:srgbClr val="004D86"/>
    <a:srgbClr val="CBEEFB"/>
    <a:srgbClr val="0079C8"/>
    <a:srgbClr val="D8C2B9"/>
    <a:srgbClr val="009EE0"/>
    <a:srgbClr val="00335B"/>
    <a:srgbClr val="008385"/>
    <a:srgbClr val="C600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49" autoAdjust="0"/>
    <p:restoredTop sz="93979" autoAdjust="0"/>
  </p:normalViewPr>
  <p:slideViewPr>
    <p:cSldViewPr snapToGrid="0" snapToObjects="1">
      <p:cViewPr varScale="1">
        <p:scale>
          <a:sx n="113" d="100"/>
          <a:sy n="113" d="100"/>
        </p:scale>
        <p:origin x="1854" y="96"/>
      </p:cViewPr>
      <p:guideLst>
        <p:guide orient="horz" pos="2160"/>
        <p:guide pos="2880"/>
        <p:guide orient="horz" pos="485"/>
        <p:guide orient="horz" pos="910"/>
        <p:guide orient="horz" pos="4046"/>
        <p:guide orient="horz" pos="3732"/>
        <p:guide pos="347"/>
        <p:guide pos="5479"/>
        <p:guide pos="2911"/>
      </p:guideLst>
    </p:cSldViewPr>
  </p:slideViewPr>
  <p:outlineViewPr>
    <p:cViewPr>
      <p:scale>
        <a:sx n="33" d="100"/>
        <a:sy n="33" d="100"/>
      </p:scale>
      <p:origin x="0" y="-11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65" d="100"/>
          <a:sy n="165" d="100"/>
        </p:scale>
        <p:origin x="5272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75F862-666B-4B79-AEE0-0FC8CE6D06E3}" type="datetimeFigureOut">
              <a:rPr lang="en-GB" smtClean="0"/>
              <a:pPr/>
              <a:t>15/03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529D4D-CBC3-4174-80E6-461A727AD5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18763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412" y="489600"/>
            <a:ext cx="2877671" cy="177279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7412" y="5572903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48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412" y="489600"/>
            <a:ext cx="2877671" cy="155119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1742287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467414" y="489600"/>
            <a:ext cx="3312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663225"/>
            <a:ext cx="2877671" cy="1551194"/>
          </a:xfrm>
        </p:spPr>
        <p:txBody>
          <a:bodyPr/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934196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467414" y="3027600"/>
            <a:ext cx="3312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3201225"/>
            <a:ext cx="2877671" cy="1551194"/>
          </a:xfrm>
        </p:spPr>
        <p:txBody>
          <a:bodyPr/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12360745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6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467414" y="489600"/>
            <a:ext cx="3312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663225"/>
            <a:ext cx="2877671" cy="155119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20714580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7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467414" y="3027600"/>
            <a:ext cx="3312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3201225"/>
            <a:ext cx="2877671" cy="1551194"/>
          </a:xfr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13758681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2" y="1439869"/>
            <a:ext cx="4320000" cy="4484682"/>
          </a:xfrm>
        </p:spPr>
        <p:txBody>
          <a:bodyPr/>
          <a:lstStyle>
            <a:lvl1pPr marL="360000" indent="-360000">
              <a:spcBef>
                <a:spcPts val="0"/>
              </a:spcBef>
              <a:spcAft>
                <a:spcPts val="700"/>
              </a:spcAft>
              <a:buClr>
                <a:schemeClr val="bg2"/>
              </a:buClr>
              <a:buFont typeface="+mj-lt"/>
              <a:buAutoNum type="arabicPeriod"/>
              <a:defRPr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4010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Arial Bold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73292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2" y="1439869"/>
            <a:ext cx="3420000" cy="44846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621213" y="1440000"/>
            <a:ext cx="3420000" cy="44846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54891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2" y="1439869"/>
            <a:ext cx="3420000" cy="4484682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621213" y="1440000"/>
            <a:ext cx="3420000" cy="44846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556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2" y="1439869"/>
            <a:ext cx="3420000" cy="92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Content Placeholder 2"/>
          <p:cNvSpPr>
            <a:spLocks noGrp="1"/>
          </p:cNvSpPr>
          <p:nvPr>
            <p:ph idx="10"/>
          </p:nvPr>
        </p:nvSpPr>
        <p:spPr>
          <a:xfrm>
            <a:off x="4621213" y="1440000"/>
            <a:ext cx="3420000" cy="446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50862" y="2492375"/>
            <a:ext cx="3420000" cy="3330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550862" y="5924550"/>
            <a:ext cx="3419475" cy="157162"/>
          </a:xfrm>
        </p:spPr>
        <p:txBody>
          <a:bodyPr anchor="b" anchorCtr="0"/>
          <a:lstStyle>
            <a:lvl1pPr>
              <a:spcBef>
                <a:spcPts val="0"/>
              </a:spcBef>
              <a:defRPr sz="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36884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412" y="489600"/>
            <a:ext cx="2877671" cy="1772793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7412" y="5572903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3591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862" y="1439869"/>
            <a:ext cx="3420000" cy="92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550863" y="2492374"/>
            <a:ext cx="3419475" cy="3330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Content Placeholder 2"/>
          <p:cNvSpPr>
            <a:spLocks noGrp="1"/>
          </p:cNvSpPr>
          <p:nvPr>
            <p:ph idx="12"/>
          </p:nvPr>
        </p:nvSpPr>
        <p:spPr>
          <a:xfrm>
            <a:off x="4621249" y="1440000"/>
            <a:ext cx="3420000" cy="928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4621213" y="2492374"/>
            <a:ext cx="3419475" cy="3330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51387" y="5924550"/>
            <a:ext cx="3419475" cy="157162"/>
          </a:xfrm>
        </p:spPr>
        <p:txBody>
          <a:bodyPr anchor="b" anchorCtr="0"/>
          <a:lstStyle>
            <a:lvl1pPr>
              <a:spcBef>
                <a:spcPts val="0"/>
              </a:spcBef>
              <a:defRPr sz="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621213" y="5924550"/>
            <a:ext cx="3419475" cy="157162"/>
          </a:xfrm>
        </p:spPr>
        <p:txBody>
          <a:bodyPr anchor="b" anchorCtr="0"/>
          <a:lstStyle>
            <a:lvl1pPr>
              <a:spcBef>
                <a:spcPts val="0"/>
              </a:spcBef>
              <a:defRPr sz="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06420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551387" y="5924550"/>
            <a:ext cx="3419475" cy="157162"/>
          </a:xfrm>
        </p:spPr>
        <p:txBody>
          <a:bodyPr anchor="b" anchorCtr="0"/>
          <a:lstStyle>
            <a:lvl1pPr>
              <a:spcBef>
                <a:spcPts val="0"/>
              </a:spcBef>
              <a:defRPr sz="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550862" y="1439869"/>
            <a:ext cx="8135938" cy="271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4365" y="304399"/>
            <a:ext cx="687728" cy="687728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550863" y="6230938"/>
            <a:ext cx="8135937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50863" y="992127"/>
            <a:ext cx="7340070" cy="0"/>
          </a:xfrm>
          <a:prstGeom prst="line">
            <a:avLst/>
          </a:prstGeom>
          <a:ln w="952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16467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/>
              <a:t>Illustration </a:t>
            </a:r>
            <a:r>
              <a:rPr lang="en-GB" dirty="0"/>
              <a:t>divider page. Allow for maximum of four lines Arial Bold 28pt in Bupa cyan</a:t>
            </a:r>
            <a:endParaRPr lang="en-AU" dirty="0"/>
          </a:p>
        </p:txBody>
      </p:sp>
      <p:pic>
        <p:nvPicPr>
          <p:cNvPr id="5" name="Picture 4" descr="Bupa_Illustration_Artwork_Tree_2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1945" y="1850813"/>
            <a:ext cx="7430587" cy="525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2685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9800" y="2483202"/>
            <a:ext cx="5310175" cy="3754908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Illustration 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7261" y="2954689"/>
            <a:ext cx="4815838" cy="3405354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/>
              <a:t>Illustration </a:t>
            </a:r>
            <a:r>
              <a:rPr lang="en-GB" dirty="0"/>
              <a:t>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5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upa_Illustration_Artwork_Umbrella_RGB-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8109" y="2927066"/>
            <a:ext cx="4760225" cy="3365331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Illustration 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6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7076" y="3014133"/>
            <a:ext cx="4664074" cy="3298039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/>
              <a:t>Illustration </a:t>
            </a:r>
            <a:r>
              <a:rPr lang="en-GB" dirty="0"/>
              <a:t>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7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4759" y="2433211"/>
            <a:ext cx="5310174" cy="3754907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/>
              <a:t>Illustration </a:t>
            </a:r>
            <a:r>
              <a:rPr lang="en-GB" dirty="0"/>
              <a:t>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8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9400" y="2585357"/>
            <a:ext cx="5310174" cy="3754907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467414" y="489600"/>
            <a:ext cx="4400677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Illustration 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9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2623" y="2585357"/>
            <a:ext cx="5310174" cy="3754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3404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412" y="489600"/>
            <a:ext cx="2877671" cy="1772793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7412" y="5572903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0883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divider 10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7415" y="489600"/>
            <a:ext cx="4458154" cy="1641475"/>
          </a:xfrm>
        </p:spPr>
        <p:txBody>
          <a:bodyPr wrap="square">
            <a:spAutoFit/>
          </a:bodyPr>
          <a:lstStyle>
            <a:lvl1pPr>
              <a:lnSpc>
                <a:spcPts val="3160"/>
              </a:lnSpc>
              <a:defRPr sz="2800" baseline="0">
                <a:solidFill>
                  <a:schemeClr val="bg2"/>
                </a:solidFill>
              </a:defRPr>
            </a:lvl1pPr>
          </a:lstStyle>
          <a:p>
            <a:r>
              <a:rPr lang="en-GB" dirty="0"/>
              <a:t>Illustration divider page. Allow for maximum of four lines Arial Bold 28pt in Bupa cy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187758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1285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8821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1629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8461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5177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3855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4854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5642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693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663225"/>
            <a:ext cx="2877671" cy="1772793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41037" y="2861278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0707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8071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40324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8173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4356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9531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98481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6732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0614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67105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7089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5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3201225"/>
            <a:ext cx="2877671" cy="1772793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41037" y="5399278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56913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7683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029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042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6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/>
          </p:cNvSpPr>
          <p:nvPr userDrawn="1"/>
        </p:nvSpPr>
        <p:spPr>
          <a:xfrm>
            <a:off x="467414" y="489600"/>
            <a:ext cx="3312000" cy="3312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663225"/>
            <a:ext cx="2877671" cy="1772793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41037" y="2861278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7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7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1037" y="3201225"/>
            <a:ext cx="2877671" cy="1772793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llow for maximum of four lines for title 32pt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641037" y="5399278"/>
            <a:ext cx="2877671" cy="766697"/>
          </a:xfrm>
        </p:spPr>
        <p:txBody>
          <a:bodyPr anchor="b" anchorCtr="0"/>
          <a:lstStyle>
            <a:lvl1pPr>
              <a:lnSpc>
                <a:spcPct val="100000"/>
              </a:lnSpc>
              <a:spcBef>
                <a:spcPts val="0"/>
              </a:spcBef>
              <a:defRPr sz="14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br>
              <a:rPr lang="en-US" dirty="0"/>
            </a:br>
            <a:r>
              <a:rPr lang="en-US" dirty="0"/>
              <a:t>Business Unit Name</a:t>
            </a:r>
            <a:br>
              <a:rPr lang="en-US" dirty="0"/>
            </a:br>
            <a:r>
              <a:rPr lang="en-US" dirty="0"/>
              <a:t>DD MM YYYY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168" y="275462"/>
            <a:ext cx="1090350" cy="109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3148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412" y="489600"/>
            <a:ext cx="2877671" cy="1551194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1890209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412" y="489600"/>
            <a:ext cx="2877671" cy="1551194"/>
          </a:xfrm>
        </p:spPr>
        <p:txBody>
          <a:bodyPr/>
          <a:lstStyle>
            <a:lvl1pPr>
              <a:defRPr sz="2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Allow for maximum of four lines for title 28pt</a:t>
            </a:r>
          </a:p>
        </p:txBody>
      </p:sp>
    </p:spTree>
    <p:extLst>
      <p:ext uri="{BB962C8B-B14F-4D97-AF65-F5344CB8AC3E}">
        <p14:creationId xmlns:p14="http://schemas.microsoft.com/office/powerpoint/2010/main" val="3554470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961033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Slide" r:id="rId35" imgW="592" imgH="591" progId="TCLayout.ActiveDocument.1">
                  <p:embed/>
                </p:oleObj>
              </mc:Choice>
              <mc:Fallback>
                <p:oleObj name="think-cell Slide" r:id="rId3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0862" y="508974"/>
            <a:ext cx="8135938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0862" y="1439869"/>
            <a:ext cx="8135938" cy="44846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497156" y="6298305"/>
            <a:ext cx="21336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DD MM YYYY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50863" y="6298305"/>
            <a:ext cx="186372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pPr algn="l"/>
            <a:r>
              <a:rPr lang="en-AU" dirty="0"/>
              <a:t>Bupa Private and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1277" y="6296074"/>
            <a:ext cx="53599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2"/>
                </a:solidFill>
              </a:defRPr>
            </a:lvl1pPr>
          </a:lstStyle>
          <a:p>
            <a:fld id="{1E312DB4-4461-496E-BE8A-4915DF83011C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34757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7" r:id="rId2"/>
    <p:sldLayoutId id="2147483696" r:id="rId3"/>
    <p:sldLayoutId id="2147483698" r:id="rId4"/>
    <p:sldLayoutId id="2147483700" r:id="rId5"/>
    <p:sldLayoutId id="2147483699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7" r:id="rId12"/>
    <p:sldLayoutId id="2147483706" r:id="rId13"/>
    <p:sldLayoutId id="2147483708" r:id="rId14"/>
    <p:sldLayoutId id="2147483679" r:id="rId15"/>
    <p:sldLayoutId id="2147483650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69" r:id="rId22"/>
    <p:sldLayoutId id="2147483670" r:id="rId23"/>
    <p:sldLayoutId id="2147483671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88" r:id="rId3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400"/>
        </a:spcBef>
        <a:spcAft>
          <a:spcPts val="0"/>
        </a:spcAft>
        <a:buFont typeface="Arial" pitchFamily="34" charset="0"/>
        <a:buNone/>
        <a:defRPr sz="1600" b="1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950"/>
        </a:spcAft>
        <a:buFont typeface="Arial" pitchFamily="34" charset="0"/>
        <a:buNone/>
        <a:defRPr sz="16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spcBef>
          <a:spcPts val="0"/>
        </a:spcBef>
        <a:spcAft>
          <a:spcPts val="950"/>
        </a:spcAft>
        <a:buClr>
          <a:schemeClr val="bg2"/>
        </a:buClr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spcBef>
          <a:spcPts val="0"/>
        </a:spcBef>
        <a:spcAft>
          <a:spcPts val="950"/>
        </a:spcAft>
        <a:buClr>
          <a:schemeClr val="bg2"/>
        </a:buClr>
        <a:buFont typeface="Arial" panose="020B060402020202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774000" indent="-342000" algn="l" defTabSz="914400" rtl="0" eaLnBrk="1" latinLnBrk="0" hangingPunct="1">
        <a:spcBef>
          <a:spcPts val="0"/>
        </a:spcBef>
        <a:spcAft>
          <a:spcPts val="950"/>
        </a:spcAft>
        <a:buClr>
          <a:schemeClr val="bg2"/>
        </a:buClr>
        <a:buFont typeface="+mj-lt"/>
        <a:buAutoNum type="alphaLcParenR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2838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A533CA-5C4E-494E-BF01-9B39936C6B77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464BB0-90C7-4241-825A-E797EF5BCC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223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34988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CB1468-ED6A-7B4D-9B7C-E985326DB66E}" type="datetimeFigureOut">
              <a:rPr lang="en-US" smtClean="0"/>
              <a:t>3/1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D25A17-C74D-F04C-950B-0BD8E6682C8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3457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s://www.google.com/url?sa=i&amp;url=http://www.vectorico.com/folder-icon/&amp;psig=AOvVaw028OY1Y_1N3qVmWAdx5Fow&amp;ust=1584358677211000&amp;source=images&amp;cd=vfe&amp;ved=0CAIQjRxqFwoTCNCil5WynOgCFQAAAAAdAAAAABAV" TargetMode="Externa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older Structur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 dirty="0" smtClean="0"/>
              <a:t>DD MM YYYY</a:t>
            </a:r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en-AU" smtClean="0"/>
              <a:t>Bupa Private and Confidential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E312DB4-4461-496E-BE8A-4915DF83011C}" type="slidenum">
              <a:rPr lang="en-AU" smtClean="0"/>
              <a:pPr/>
              <a:t>1</a:t>
            </a:fld>
            <a:endParaRPr lang="en-AU" dirty="0"/>
          </a:p>
        </p:txBody>
      </p:sp>
      <p:pic>
        <p:nvPicPr>
          <p:cNvPr id="28674" name="Picture 2" descr="Image result for folder icon 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2464" y="1123981"/>
            <a:ext cx="1541582" cy="1541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822207" y="1744642"/>
            <a:ext cx="16722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Corona Material</a:t>
            </a:r>
            <a:endParaRPr lang="en-GB" sz="1600" b="1" dirty="0"/>
          </a:p>
        </p:txBody>
      </p:sp>
      <p:cxnSp>
        <p:nvCxnSpPr>
          <p:cNvPr id="9" name="Straight Connector 8"/>
          <p:cNvCxnSpPr>
            <a:stCxn id="28674" idx="2"/>
            <a:endCxn id="16" idx="0"/>
          </p:cNvCxnSpPr>
          <p:nvPr/>
        </p:nvCxnSpPr>
        <p:spPr>
          <a:xfrm flipH="1">
            <a:off x="4658319" y="2665563"/>
            <a:ext cx="4936" cy="143951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334747" y="3493698"/>
            <a:ext cx="3903479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1112808" y="3493698"/>
            <a:ext cx="3217003" cy="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 descr="Image result for folder icon 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7528" y="4105082"/>
            <a:ext cx="1541582" cy="1541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3918645" y="4654764"/>
            <a:ext cx="1479348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Health Emails</a:t>
            </a:r>
            <a:endParaRPr lang="en-GB" sz="1400" b="1" dirty="0" smtClean="0"/>
          </a:p>
          <a:p>
            <a:pPr algn="ctr"/>
            <a:r>
              <a:rPr lang="en-GB" sz="900" dirty="0" smtClean="0"/>
              <a:t>Includes a set of different emails about Coronavirus and tips to stay safe</a:t>
            </a:r>
            <a:endParaRPr lang="en-GB" sz="900" dirty="0"/>
          </a:p>
        </p:txBody>
      </p:sp>
      <p:pic>
        <p:nvPicPr>
          <p:cNvPr id="23" name="Picture 2" descr="Image result for folder icon 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4790" y="4105082"/>
            <a:ext cx="1541582" cy="1541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2133959" y="4654764"/>
            <a:ext cx="1423243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Health Roll-ups </a:t>
            </a:r>
            <a:r>
              <a:rPr lang="en-GB" sz="1400" b="1" dirty="0" smtClean="0"/>
              <a:t>&amp; Posters</a:t>
            </a:r>
          </a:p>
          <a:p>
            <a:pPr algn="ctr"/>
            <a:r>
              <a:rPr lang="en-GB" sz="900" dirty="0" smtClean="0"/>
              <a:t>To be printed by clients</a:t>
            </a:r>
            <a:endParaRPr lang="en-GB" sz="900" b="1" dirty="0" smtClean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2931090" y="3493698"/>
            <a:ext cx="0" cy="611384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" descr="Image result for folder icon 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4945" y="4105082"/>
            <a:ext cx="1541582" cy="1541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5680366" y="4654764"/>
            <a:ext cx="1534852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Health Visuals</a:t>
            </a:r>
            <a:endParaRPr lang="en-GB" sz="1400" b="1" dirty="0" smtClean="0"/>
          </a:p>
          <a:p>
            <a:pPr algn="ctr"/>
            <a:r>
              <a:rPr lang="en-GB" sz="900" dirty="0" smtClean="0"/>
              <a:t>Includes social media visuals, posts, and desktop wallpapers.</a:t>
            </a:r>
            <a:endParaRPr lang="en-GB" sz="900" dirty="0"/>
          </a:p>
        </p:txBody>
      </p:sp>
      <p:pic>
        <p:nvPicPr>
          <p:cNvPr id="30" name="Picture 2" descr="Image result for folder icon 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7426" y="4105082"/>
            <a:ext cx="1541582" cy="1541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7389390" y="4654764"/>
            <a:ext cx="1517654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Videos</a:t>
            </a:r>
          </a:p>
          <a:p>
            <a:pPr algn="ctr"/>
            <a:r>
              <a:rPr lang="en-GB" sz="900" dirty="0" smtClean="0"/>
              <a:t>Includes videos about Coronavirus and how to stay safe.</a:t>
            </a:r>
            <a:endParaRPr lang="en-GB" sz="900" dirty="0"/>
          </a:p>
        </p:txBody>
      </p:sp>
      <p:pic>
        <p:nvPicPr>
          <p:cNvPr id="32" name="Picture 2" descr="Image result for folder icon 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305" y="4090427"/>
            <a:ext cx="1541582" cy="1541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/>
          <p:cNvSpPr txBox="1"/>
          <p:nvPr/>
        </p:nvSpPr>
        <p:spPr>
          <a:xfrm>
            <a:off x="284931" y="4652511"/>
            <a:ext cx="15263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Templates</a:t>
            </a:r>
          </a:p>
          <a:p>
            <a:pPr algn="ctr"/>
            <a:r>
              <a:rPr lang="en-GB" sz="900" dirty="0" smtClean="0"/>
              <a:t>Includes different types of templates</a:t>
            </a:r>
            <a:endParaRPr lang="en-GB" sz="900" dirty="0"/>
          </a:p>
        </p:txBody>
      </p:sp>
      <p:cxnSp>
        <p:nvCxnSpPr>
          <p:cNvPr id="36" name="Straight Connector 35"/>
          <p:cNvCxnSpPr/>
          <p:nvPr/>
        </p:nvCxnSpPr>
        <p:spPr>
          <a:xfrm>
            <a:off x="1112808" y="3493698"/>
            <a:ext cx="0" cy="611384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6447792" y="3493698"/>
            <a:ext cx="0" cy="611384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8233459" y="3493698"/>
            <a:ext cx="0" cy="611384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49916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dcmKhrp3XN6gfl8Iq0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ElwuZtTAePD4p523ZI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0qXdXcHgkiUXm4v25Klg"/>
</p:tagLst>
</file>

<file path=ppt/theme/theme1.xml><?xml version="1.0" encoding="utf-8"?>
<a:theme xmlns:a="http://schemas.openxmlformats.org/drawingml/2006/main" name="Bupa PPT template_4-3">
  <a:themeElements>
    <a:clrScheme name="BUPA">
      <a:dk1>
        <a:sysClr val="windowText" lastClr="000000"/>
      </a:dk1>
      <a:lt1>
        <a:sysClr val="window" lastClr="FFFFFF"/>
      </a:lt1>
      <a:dk2>
        <a:srgbClr val="00335B"/>
      </a:dk2>
      <a:lt2>
        <a:srgbClr val="009EE0"/>
      </a:lt2>
      <a:accent1>
        <a:srgbClr val="009EE0"/>
      </a:accent1>
      <a:accent2>
        <a:srgbClr val="40B6E8"/>
      </a:accent2>
      <a:accent3>
        <a:srgbClr val="7FCEEF"/>
      </a:accent3>
      <a:accent4>
        <a:srgbClr val="CCECF9"/>
      </a:accent4>
      <a:accent5>
        <a:srgbClr val="7F99AD"/>
      </a:accent5>
      <a:accent6>
        <a:srgbClr val="406684"/>
      </a:accent6>
      <a:hlink>
        <a:srgbClr val="00335B"/>
      </a:hlink>
      <a:folHlink>
        <a:srgbClr val="00335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upa PPT templates 4-3 covers" id="{0C206CA5-C062-BF49-8C3D-DD4F58D71244}" vid="{24EFBB6F-2A27-F848-BE28-97385C230F2C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8 Roadshow V4</Template>
  <TotalTime>25721</TotalTime>
  <Words>66</Words>
  <Application>Microsoft Office PowerPoint</Application>
  <PresentationFormat>On-screen Show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Bupa PPT template_4-3</vt:lpstr>
      <vt:lpstr>1_Custom Design</vt:lpstr>
      <vt:lpstr>Custom Design</vt:lpstr>
      <vt:lpstr>think-cell Slide</vt:lpstr>
      <vt:lpstr>Folder Structu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ay Mahdi</cp:lastModifiedBy>
  <cp:revision>638</cp:revision>
  <cp:lastPrinted>2018-01-28T13:34:37Z</cp:lastPrinted>
  <dcterms:created xsi:type="dcterms:W3CDTF">2018-01-28T06:24:06Z</dcterms:created>
  <dcterms:modified xsi:type="dcterms:W3CDTF">2020-03-15T12:54:06Z</dcterms:modified>
</cp:coreProperties>
</file>